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63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56" autoAdjust="0"/>
    <p:restoredTop sz="94660"/>
  </p:normalViewPr>
  <p:slideViewPr>
    <p:cSldViewPr snapToGrid="0" showGuides="1">
      <p:cViewPr varScale="1">
        <p:scale>
          <a:sx n="85" d="100"/>
          <a:sy n="85" d="100"/>
        </p:scale>
        <p:origin x="192" y="2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6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E8C4A-53E4-0649-9DD3-23670053B41D}" type="datetimeFigureOut">
              <a:rPr lang="da-DK" smtClean="0"/>
              <a:t>30.10.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A58CD0-03D5-1443-A041-D553CD11EBBB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0980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A58CD0-03D5-1443-A041-D553CD11EBB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71955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30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30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30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33E91-0104-0C4B-BED0-F980DBE04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esus Kommer igen (2) – Vores HOLDNINGER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6424-2B8F-D240-9679-31E9F1562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Autofit/>
          </a:bodyPr>
          <a:lstStyle/>
          <a:p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PRÆDIKENS FORMÅL: 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At styrke os kristne til at stole på Guds omsorg og styring af </a:t>
            </a:r>
            <a:r>
              <a:rPr lang="da-DK" altLang="da-DK" sz="1100" dirty="0" err="1">
                <a:latin typeface="Arial" panose="020B0604020202020204" pitchFamily="34" charset="0"/>
                <a:cs typeface="Arial" panose="020B0604020202020204" pitchFamily="34" charset="0"/>
              </a:rPr>
              <a:t>begivenheder-ne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 omkring </a:t>
            </a:r>
            <a:r>
              <a:rPr lang="da-DK" altLang="da-DK" sz="1100" dirty="0" err="1">
                <a:latin typeface="Arial" panose="020B0604020202020204" pitchFamily="34" charset="0"/>
                <a:cs typeface="Arial" panose="020B0604020202020204" pitchFamily="34" charset="0"/>
              </a:rPr>
              <a:t>endetiden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. At opmuntre os til at hengive til Jesus, i tillid til hans løfter om evig beskyttelse. At hjælpe os til at stole på at Helligånden vil styrke os i vores efterfølgelse af Jesus også under ekstrem modstand.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PRÆDIKENS MÅL: 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1. At udvikle de holdninger, som Jesus kalder os til, der vil hjælpe os til at komme sejrende igennem </a:t>
            </a:r>
            <a:r>
              <a:rPr lang="da-DK" altLang="da-DK" sz="1100" dirty="0" err="1">
                <a:latin typeface="Arial" panose="020B0604020202020204" pitchFamily="34" charset="0"/>
                <a:cs typeface="Arial" panose="020B0604020202020204" pitchFamily="34" charset="0"/>
              </a:rPr>
              <a:t>endetidens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 trængsler. 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Holdninger som: </a:t>
            </a:r>
            <a:r>
              <a:rPr lang="da-DK" alt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Årvågenhed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 til at være opmærksom på tegnene der varsler Jesu komme. At leve </a:t>
            </a:r>
            <a:r>
              <a:rPr lang="da-DK" alt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forberedte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 til at overvinde de hindringer, der møder os, mens vi venter. At </a:t>
            </a:r>
            <a:r>
              <a:rPr lang="da-DK" alt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vogte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 vores personlige forhold til Jesus, så vi ikke bliver åndeligt sløve. At styrke os i </a:t>
            </a:r>
            <a:r>
              <a:rPr lang="da-DK" altLang="da-DK" sz="1100" b="1" dirty="0">
                <a:latin typeface="Arial" panose="020B0604020202020204" pitchFamily="34" charset="0"/>
                <a:cs typeface="Arial" panose="020B0604020202020204" pitchFamily="34" charset="0"/>
              </a:rPr>
              <a:t>forventningen</a:t>
            </a: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 at Gud styrer alt og at Jesus vil komme tilbage og bringer os ind i hans evige Rige.  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2. At forberede os på de angreb, den onde vil bruge imod os, en blanding af forfølgelse, forførelse og fristelse.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  <a:t>3. At opmuntre os til at bevare et hengivent tillidsforhold til Jesus Kristus.</a:t>
            </a:r>
            <a:br>
              <a:rPr lang="da-DK" altLang="da-DK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sz="1100" dirty="0"/>
            </a:br>
            <a:endParaRPr lang="da-DK" sz="11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5EA0A-5AF9-D84A-A5A3-374EABD6F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>
                <a:latin typeface="Arial" panose="020B0604020202020204" pitchFamily="34" charset="0"/>
                <a:cs typeface="Arial" panose="020B0604020202020204" pitchFamily="34" charset="0"/>
              </a:rPr>
              <a:t>Våg derfor, for I ved ikke, hvad dag jeres Herre kommer. … Derfor skal I også være rede. Mat.24:</a:t>
            </a: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,44</a:t>
            </a:r>
          </a:p>
          <a:p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æs </a:t>
            </a:r>
            <a:r>
              <a:rPr lang="da-DK" dirty="0">
                <a:latin typeface="Arial" panose="020B0604020202020204" pitchFamily="34" charset="0"/>
                <a:cs typeface="Arial" panose="020B0604020202020204" pitchFamily="34" charset="0"/>
              </a:rPr>
              <a:t>Mat.24:32-51og dens fortsættelse i kap.25</a:t>
            </a:r>
            <a:endParaRPr lang="da-DK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C122C0-304F-D94D-85D1-E662264F5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Taknemlighed til Gud, at han har givet os både åndelig undervisning og ressourcer, som vil hjælpe os igennem trængslen.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Opmuntre til aktiv bibellæsning, bøn og daglig efterfølgelse som en tro Jesu Kristi tjener.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At hvile i det glædelige håb at Jesus kommer igen og henter os hjem</a:t>
            </a:r>
          </a:p>
          <a:p>
            <a:endParaRPr lang="da-DK" sz="1000" dirty="0"/>
          </a:p>
          <a:p>
            <a:endParaRPr lang="da-DK" sz="1000" dirty="0"/>
          </a:p>
          <a:p>
            <a:endParaRPr lang="da-DK" sz="1000" dirty="0"/>
          </a:p>
          <a:p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035901-E598-2C48-9830-6C87FF254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Hvorfor tror du at Jesus bruger så meget tid til at undervise disciplenes om holdninger (66vs) fremfor om tegn (31vs)?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Hvordan praktisk kan vi </a:t>
            </a:r>
            <a:r>
              <a:rPr lang="da-DK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våge</a:t>
            </a:r>
            <a:r>
              <a:rPr lang="da-DK" sz="11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a-DK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være rede</a:t>
            </a:r>
            <a:r>
              <a:rPr lang="da-DK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og</a:t>
            </a:r>
            <a:r>
              <a:rPr lang="da-DK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vogte os selv</a:t>
            </a:r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r>
              <a:rPr lang="da-DK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Gud har sat sit evige ejendomsmærke på os, ved at føde Helligånden i os. Hvad betyder denne sikkerhed for dig? 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Hvis det daglige forhold til Jesus er det, der fremmer ens oplevelse af hans nærvær, hvordan plejer vi dette forhold?</a:t>
            </a:r>
          </a:p>
          <a:p>
            <a:endParaRPr lang="da-DK" sz="1100" dirty="0"/>
          </a:p>
          <a:p>
            <a:pPr marL="0" indent="0">
              <a:buNone/>
            </a:pPr>
            <a:endParaRPr lang="da-DK" sz="11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2F2860-175F-7549-8660-270CAD1DA1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Bed for forfulgte kristne. Evt.  brug også </a:t>
            </a:r>
            <a:r>
              <a:rPr lang="da-DK" sz="1100" dirty="0" err="1">
                <a:latin typeface="Arial" panose="020B0604020202020204" pitchFamily="34" charset="0"/>
                <a:cs typeface="Arial" panose="020B0604020202020204" pitchFamily="34" charset="0"/>
              </a:rPr>
              <a:t>bedebrevet</a:t>
            </a:r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 fra NAS.  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Bed for dem der står i stor trængsel i krigene i Ukraine og Gaza. Bed for at retfærdige og fredindstillede ledere får fremgang.</a:t>
            </a:r>
          </a:p>
          <a:p>
            <a:r>
              <a:rPr lang="da-DK" sz="1100" dirty="0">
                <a:latin typeface="Arial" panose="020B0604020202020204" pitchFamily="34" charset="0"/>
                <a:cs typeface="Arial" panose="020B0604020202020204" pitchFamily="34" charset="0"/>
              </a:rPr>
              <a:t>Bed for vores missionær og vores julemission i Rødovre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6335DC-9A39-F64B-B62B-836D36B5F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da-DK" dirty="0">
                <a:latin typeface="Arial" panose="020B0604020202020204" pitchFamily="34" charset="0"/>
                <a:cs typeface="Arial" panose="020B0604020202020204" pitchFamily="34" charset="0"/>
              </a:rPr>
              <a:t>Overvej om du kan indrette dit liv bedre i lyset af Jesu Kristi genkomst. Bed om at Helligånden vil lede dig!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4940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63</TotalTime>
  <Words>461</Words>
  <Application>Microsoft Macintosh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entury Gothic</vt:lpstr>
      <vt:lpstr>Verdana</vt:lpstr>
      <vt:lpstr>Wingdings 3</vt:lpstr>
      <vt:lpstr>Wisp</vt:lpstr>
      <vt:lpstr>think-cell Slide</vt:lpstr>
      <vt:lpstr>Jesus Kommer igen (2) – Vores HOLDNINGER 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sven.straarup@gmail.com</cp:lastModifiedBy>
  <cp:revision>116</cp:revision>
  <dcterms:created xsi:type="dcterms:W3CDTF">2019-08-19T18:08:22Z</dcterms:created>
  <dcterms:modified xsi:type="dcterms:W3CDTF">2023-10-30T14:3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